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0"/>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44E357AC-6578-4628-A181-C39778C850EE}">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notesMaster" Target="notesMasters/notesMaster1.xml"/><Relationship Id="rId31" Type="http://schemas.openxmlformats.org/officeDocument/2006/relationships/presProps" Target="presProps.xml"/><Relationship Id="rId32" Type="http://schemas.openxmlformats.org/officeDocument/2006/relationships/viewProps" Target="viewProps.xml"/><Relationship Id="rId33" Type="http://schemas.openxmlformats.org/officeDocument/2006/relationships/theme" Target="theme/theme1.xml"/><Relationship Id="rId34" Type="http://schemas.openxmlformats.org/officeDocument/2006/relationships/tableStyles" Target="tableStyles.xml"/><Relationship Id="rId35" Type="http://schemas.microsoft.com/office/2015/10/relationships/revisionInfo" Target="revisionInfo.xml"/><Relationship Id="rId36"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19901211567034944</c:v>
                </c:pt>
                <c:pt idx="3">
                  <c:v>0.32935275112255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000311054065661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10003110540656611</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60893731818428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89794850206542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2897948502065428</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043860950068824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3419356127299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234193561272996</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19901211567034944</c:v>
                </c:pt>
                <c:pt idx="3">
                  <c:v>0.32935275112255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60893731818428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7875153603401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278751536034013</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0476051752909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043860950068824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284566228791441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22845662287914417</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90494971855206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614462086261064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4189601463648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941896014636484</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632816902911265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071958934388501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30719589343885016</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6144620862610648</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155150524877055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577078911186099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5770789111860995</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90494971855206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314668210511141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3146682105111414</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0476051752909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632816902911265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891506821952563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8915068219525632</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155150524877055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50141091619643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501410916196438</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615273084190692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441098646263186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4410986462631862</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75045556310157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709561114125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3257095611141258</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251446252838476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73239082633107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732390826331078</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932558462274398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615273084190692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949262358029692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9492623580296922</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75045556310157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34778906377430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03803780949932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3038037809499322</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251446252838476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62817327035301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628173270353014</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1347789063774303</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0720054877672184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375085520330023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0676478544246583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06764785442465831</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932558462274398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023564401954708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10235644019547083</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3750855203300237</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4876835877361912e-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8.765991781950135e-0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8.765991781950135e-07</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0720054877672184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034609551599965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0346095515999654</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882376663967480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175948410456020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11759484104560203</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891712009472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882376663967480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951767885479046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alad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34461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400157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331849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29042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900846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306135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662968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698119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493708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521261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747050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alad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88223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801416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815208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820114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1029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229182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391106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317893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396087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724515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684800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254198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Aperitif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789680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Aperitif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288097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2875</Words>
  <Application>Microsoft Office PowerPoint</Application>
  <PresentationFormat>On-screen Show (16:9)</PresentationFormat>
  <Paragraphs>1075</Paragraphs>
  <Slides>25</Slides>
  <Notes>2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6"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3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